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0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A5BDA1-25BD-D2F5-401A-7BFE690851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271054BE-75C5-1CF1-3B0E-4F97BF0F90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1054BE-75C5-1CF1-3B0E-4F97BF0F90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75E2A4-F97F-0318-946A-9157AE4D8C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ED467F-B413-8804-E920-B9DD93108C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DAD0F53-4C9D-0AAA-2330-47E43396A29F}"/>
              </a:ext>
            </a:extLst>
          </p:cNvPr>
          <p:cNvSpPr/>
          <p:nvPr/>
        </p:nvSpPr>
        <p:spPr>
          <a:xfrm rot="5400000">
            <a:off x="165699" y="1248757"/>
            <a:ext cx="8634" cy="307804"/>
          </a:xfrm>
          <a:custGeom>
            <a:avLst/>
            <a:gdLst>
              <a:gd name="connsiteX0" fmla="*/ 1768 w 5447"/>
              <a:gd name="connsiteY0" fmla="*/ 194178 h 194178"/>
              <a:gd name="connsiteX1" fmla="*/ 5341 w 5447"/>
              <a:gd name="connsiteY1" fmla="*/ 678 h 194178"/>
              <a:gd name="connsiteX2" fmla="*/ 5447 w 5447"/>
              <a:gd name="connsiteY2" fmla="*/ 0 h 194178"/>
              <a:gd name="connsiteX3" fmla="*/ 1861 w 5447"/>
              <a:gd name="connsiteY3" fmla="*/ 194178 h 194178"/>
              <a:gd name="connsiteX4" fmla="*/ 1768 w 5447"/>
              <a:gd name="connsiteY4" fmla="*/ 194178 h 194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7" h="194178">
                <a:moveTo>
                  <a:pt x="1768" y="194178"/>
                </a:moveTo>
                <a:cubicBezTo>
                  <a:pt x="-1485" y="129113"/>
                  <a:pt x="-226" y="64485"/>
                  <a:pt x="5341" y="678"/>
                </a:cubicBezTo>
                <a:lnTo>
                  <a:pt x="5447" y="0"/>
                </a:lnTo>
                <a:lnTo>
                  <a:pt x="1861" y="194178"/>
                </a:lnTo>
                <a:lnTo>
                  <a:pt x="1768" y="19417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2345ADA-B2D7-89C6-773F-1228E9628860}"/>
              </a:ext>
            </a:extLst>
          </p:cNvPr>
          <p:cNvSpPr/>
          <p:nvPr/>
        </p:nvSpPr>
        <p:spPr>
          <a:xfrm rot="5400000">
            <a:off x="-1132419" y="2526764"/>
            <a:ext cx="4709511" cy="2444730"/>
          </a:xfrm>
          <a:custGeom>
            <a:avLst/>
            <a:gdLst>
              <a:gd name="connsiteX0" fmla="*/ 0 w 2970995"/>
              <a:gd name="connsiteY0" fmla="*/ 1560649 h 1560649"/>
              <a:gd name="connsiteX1" fmla="*/ 0 w 2970995"/>
              <a:gd name="connsiteY1" fmla="*/ 1560649 h 1560649"/>
              <a:gd name="connsiteX2" fmla="*/ 2820903 w 2970995"/>
              <a:gd name="connsiteY2" fmla="*/ 1558911 h 1560649"/>
              <a:gd name="connsiteX3" fmla="*/ 2135743 w 2970995"/>
              <a:gd name="connsiteY3" fmla="*/ 278443 h 1560649"/>
              <a:gd name="connsiteX4" fmla="*/ 1409492 w 2970995"/>
              <a:gd name="connsiteY4" fmla="*/ 77910 h 1560649"/>
              <a:gd name="connsiteX5" fmla="*/ 683489 w 2970995"/>
              <a:gd name="connsiteY5" fmla="*/ 279337 h 1560649"/>
              <a:gd name="connsiteX6" fmla="*/ 32901 w 2970995"/>
              <a:gd name="connsiteY6" fmla="*/ 1178572 h 1560649"/>
              <a:gd name="connsiteX7" fmla="*/ 3586 w 2970995"/>
              <a:gd name="connsiteY7" fmla="*/ 1366471 h 1560649"/>
              <a:gd name="connsiteX8" fmla="*/ 3761 w 2970995"/>
              <a:gd name="connsiteY8" fmla="*/ 1356982 h 1560649"/>
              <a:gd name="connsiteX9" fmla="*/ 719500 w 2970995"/>
              <a:gd name="connsiteY9" fmla="*/ 212011 h 1560649"/>
              <a:gd name="connsiteX10" fmla="*/ 1483651 w 2970995"/>
              <a:gd name="connsiteY10" fmla="*/ 0 h 1560649"/>
              <a:gd name="connsiteX11" fmla="*/ 2248063 w 2970995"/>
              <a:gd name="connsiteY11" fmla="*/ 211070 h 1560649"/>
              <a:gd name="connsiteX12" fmla="*/ 2969224 w 2970995"/>
              <a:gd name="connsiteY12" fmla="*/ 1558820 h 1560649"/>
              <a:gd name="connsiteX13" fmla="*/ 0 w 2970995"/>
              <a:gd name="connsiteY13" fmla="*/ 1560649 h 1560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970995" h="1560649">
                <a:moveTo>
                  <a:pt x="0" y="1560649"/>
                </a:moveTo>
                <a:lnTo>
                  <a:pt x="0" y="1560649"/>
                </a:lnTo>
                <a:lnTo>
                  <a:pt x="2820903" y="1558911"/>
                </a:lnTo>
                <a:cubicBezTo>
                  <a:pt x="2846287" y="1038360"/>
                  <a:pt x="2582908" y="546141"/>
                  <a:pt x="2135743" y="278443"/>
                </a:cubicBezTo>
                <a:cubicBezTo>
                  <a:pt x="1912161" y="144594"/>
                  <a:pt x="1660806" y="77756"/>
                  <a:pt x="1409492" y="77910"/>
                </a:cubicBezTo>
                <a:cubicBezTo>
                  <a:pt x="1158178" y="78065"/>
                  <a:pt x="906906" y="145213"/>
                  <a:pt x="683489" y="279337"/>
                </a:cubicBezTo>
                <a:cubicBezTo>
                  <a:pt x="348363" y="480523"/>
                  <a:pt x="116772" y="807876"/>
                  <a:pt x="32901" y="1178572"/>
                </a:cubicBezTo>
                <a:lnTo>
                  <a:pt x="3586" y="1366471"/>
                </a:lnTo>
                <a:lnTo>
                  <a:pt x="3761" y="1356982"/>
                </a:lnTo>
                <a:cubicBezTo>
                  <a:pt x="44779" y="886862"/>
                  <a:pt x="307976" y="459061"/>
                  <a:pt x="719500" y="212011"/>
                </a:cubicBezTo>
                <a:cubicBezTo>
                  <a:pt x="954657" y="70839"/>
                  <a:pt x="1219132" y="163"/>
                  <a:pt x="1483651" y="0"/>
                </a:cubicBezTo>
                <a:cubicBezTo>
                  <a:pt x="1748170" y="-163"/>
                  <a:pt x="2012733" y="70188"/>
                  <a:pt x="2248063" y="211070"/>
                </a:cubicBezTo>
                <a:cubicBezTo>
                  <a:pt x="2718724" y="492834"/>
                  <a:pt x="2995942" y="1010917"/>
                  <a:pt x="2969224" y="1558820"/>
                </a:cubicBezTo>
                <a:lnTo>
                  <a:pt x="0" y="15606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" name="Rectangle: Diagonal Corners Rounded 6">
            <a:extLst>
              <a:ext uri="{FF2B5EF4-FFF2-40B4-BE49-F238E27FC236}">
                <a16:creationId xmlns:a16="http://schemas.microsoft.com/office/drawing/2014/main" id="{776DD367-1103-E9C3-A922-2C36845564FD}"/>
              </a:ext>
            </a:extLst>
          </p:cNvPr>
          <p:cNvSpPr>
            <a:spLocks/>
          </p:cNvSpPr>
          <p:nvPr/>
        </p:nvSpPr>
        <p:spPr>
          <a:xfrm>
            <a:off x="3321684" y="1020145"/>
            <a:ext cx="8440778" cy="967067"/>
          </a:xfrm>
          <a:prstGeom prst="round2Diag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Ins="45720" rtlCol="0" anchor="ctr">
            <a:noAutofit/>
          </a:bodyPr>
          <a:lstStyle/>
          <a:p>
            <a:pPr marL="114300" marR="0" lvl="0" indent="0" algn="l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DD933738-5432-2210-06FB-EE72303D9DD9}"/>
              </a:ext>
            </a:extLst>
          </p:cNvPr>
          <p:cNvSpPr>
            <a:spLocks/>
          </p:cNvSpPr>
          <p:nvPr/>
        </p:nvSpPr>
        <p:spPr>
          <a:xfrm>
            <a:off x="1796719" y="1503200"/>
            <a:ext cx="1524966" cy="558090"/>
          </a:xfrm>
          <a:custGeom>
            <a:avLst/>
            <a:gdLst>
              <a:gd name="connsiteX0" fmla="*/ 0 w 457200"/>
              <a:gd name="connsiteY0" fmla="*/ 285750 h 285750"/>
              <a:gd name="connsiteX1" fmla="*/ 123825 w 457200"/>
              <a:gd name="connsiteY1" fmla="*/ 0 h 285750"/>
              <a:gd name="connsiteX2" fmla="*/ 457200 w 457200"/>
              <a:gd name="connsiteY2" fmla="*/ 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7200" h="285750">
                <a:moveTo>
                  <a:pt x="0" y="285750"/>
                </a:moveTo>
                <a:lnTo>
                  <a:pt x="123825" y="0"/>
                </a:lnTo>
                <a:lnTo>
                  <a:pt x="457200" y="0"/>
                </a:lnTo>
              </a:path>
            </a:pathLst>
          </a:custGeom>
          <a:noFill/>
          <a:ln w="9525">
            <a:solidFill>
              <a:schemeClr val="accent1"/>
            </a:solidFill>
            <a:headEnd type="oval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7979AC2E-064F-AEEE-0361-CDCD8492CB0E}"/>
              </a:ext>
            </a:extLst>
          </p:cNvPr>
          <p:cNvSpPr/>
          <p:nvPr/>
        </p:nvSpPr>
        <p:spPr>
          <a:xfrm>
            <a:off x="3138119" y="1317691"/>
            <a:ext cx="376863" cy="37197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45720" rtlCol="0" anchor="ctr">
            <a:noAutofit/>
          </a:bodyPr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Rectangle: Diagonal Corners Rounded 9">
            <a:extLst>
              <a:ext uri="{FF2B5EF4-FFF2-40B4-BE49-F238E27FC236}">
                <a16:creationId xmlns:a16="http://schemas.microsoft.com/office/drawing/2014/main" id="{396CF5C3-B96E-2A14-0CFB-D7EC293318A8}"/>
              </a:ext>
            </a:extLst>
          </p:cNvPr>
          <p:cNvSpPr>
            <a:spLocks/>
          </p:cNvSpPr>
          <p:nvPr/>
        </p:nvSpPr>
        <p:spPr>
          <a:xfrm>
            <a:off x="3321684" y="2461789"/>
            <a:ext cx="8440778" cy="967067"/>
          </a:xfrm>
          <a:prstGeom prst="round2Diag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Ins="45720" rtlCol="0" anchor="ctr">
            <a:noAutofit/>
          </a:bodyPr>
          <a:lstStyle/>
          <a:p>
            <a:pPr marL="114300" marR="0" lvl="0" indent="0" algn="l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83B1CBE-40E4-655D-82CD-0C5A4A6D23C3}"/>
              </a:ext>
            </a:extLst>
          </p:cNvPr>
          <p:cNvSpPr>
            <a:spLocks/>
          </p:cNvSpPr>
          <p:nvPr/>
        </p:nvSpPr>
        <p:spPr>
          <a:xfrm>
            <a:off x="2457486" y="2979094"/>
            <a:ext cx="864200" cy="174247"/>
          </a:xfrm>
          <a:custGeom>
            <a:avLst/>
            <a:gdLst>
              <a:gd name="connsiteX0" fmla="*/ 0 w 457200"/>
              <a:gd name="connsiteY0" fmla="*/ 285750 h 285750"/>
              <a:gd name="connsiteX1" fmla="*/ 123825 w 457200"/>
              <a:gd name="connsiteY1" fmla="*/ 0 h 285750"/>
              <a:gd name="connsiteX2" fmla="*/ 457200 w 457200"/>
              <a:gd name="connsiteY2" fmla="*/ 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7200" h="285750">
                <a:moveTo>
                  <a:pt x="0" y="285750"/>
                </a:moveTo>
                <a:lnTo>
                  <a:pt x="123825" y="0"/>
                </a:lnTo>
                <a:lnTo>
                  <a:pt x="457200" y="0"/>
                </a:lnTo>
              </a:path>
            </a:pathLst>
          </a:custGeom>
          <a:noFill/>
          <a:ln w="9525">
            <a:solidFill>
              <a:schemeClr val="accent1"/>
            </a:solidFill>
            <a:headEnd type="oval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BCCF80E-A704-09A1-92EA-02600846B666}"/>
              </a:ext>
            </a:extLst>
          </p:cNvPr>
          <p:cNvSpPr/>
          <p:nvPr/>
        </p:nvSpPr>
        <p:spPr>
          <a:xfrm>
            <a:off x="3138119" y="2759335"/>
            <a:ext cx="376863" cy="37197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45720" rtlCol="0" anchor="ctr">
            <a:noAutofit/>
          </a:bodyPr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Rectangle: Diagonal Corners Rounded 12">
            <a:extLst>
              <a:ext uri="{FF2B5EF4-FFF2-40B4-BE49-F238E27FC236}">
                <a16:creationId xmlns:a16="http://schemas.microsoft.com/office/drawing/2014/main" id="{3D832554-FFBD-2907-AC24-D6E2B39ADF43}"/>
              </a:ext>
            </a:extLst>
          </p:cNvPr>
          <p:cNvSpPr>
            <a:spLocks/>
          </p:cNvSpPr>
          <p:nvPr/>
        </p:nvSpPr>
        <p:spPr>
          <a:xfrm>
            <a:off x="3321684" y="3903433"/>
            <a:ext cx="8440778" cy="967067"/>
          </a:xfrm>
          <a:prstGeom prst="round2Diag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Ins="45720" rtlCol="0" anchor="ctr">
            <a:noAutofit/>
          </a:bodyPr>
          <a:lstStyle/>
          <a:p>
            <a:pPr marL="114300" marR="0" lvl="0" indent="0" algn="l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AC477E5B-3B65-0F4A-4CEA-2953633BF627}"/>
              </a:ext>
            </a:extLst>
          </p:cNvPr>
          <p:cNvSpPr>
            <a:spLocks/>
          </p:cNvSpPr>
          <p:nvPr/>
        </p:nvSpPr>
        <p:spPr>
          <a:xfrm flipV="1">
            <a:off x="2457486" y="4239219"/>
            <a:ext cx="864200" cy="174247"/>
          </a:xfrm>
          <a:custGeom>
            <a:avLst/>
            <a:gdLst>
              <a:gd name="connsiteX0" fmla="*/ 0 w 457200"/>
              <a:gd name="connsiteY0" fmla="*/ 285750 h 285750"/>
              <a:gd name="connsiteX1" fmla="*/ 123825 w 457200"/>
              <a:gd name="connsiteY1" fmla="*/ 0 h 285750"/>
              <a:gd name="connsiteX2" fmla="*/ 457200 w 457200"/>
              <a:gd name="connsiteY2" fmla="*/ 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7200" h="285750">
                <a:moveTo>
                  <a:pt x="0" y="285750"/>
                </a:moveTo>
                <a:lnTo>
                  <a:pt x="123825" y="0"/>
                </a:lnTo>
                <a:lnTo>
                  <a:pt x="457200" y="0"/>
                </a:lnTo>
              </a:path>
            </a:pathLst>
          </a:custGeom>
          <a:noFill/>
          <a:ln w="9525">
            <a:solidFill>
              <a:schemeClr val="accent1"/>
            </a:solidFill>
            <a:headEnd type="oval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45704C7-3103-3437-F9FD-F709EA3153FC}"/>
              </a:ext>
            </a:extLst>
          </p:cNvPr>
          <p:cNvSpPr/>
          <p:nvPr/>
        </p:nvSpPr>
        <p:spPr>
          <a:xfrm>
            <a:off x="3138119" y="4200979"/>
            <a:ext cx="376863" cy="37197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45720" rtlCol="0" anchor="ctr">
            <a:noAutofit/>
          </a:bodyPr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Rectangle: Diagonal Corners Rounded 15">
            <a:extLst>
              <a:ext uri="{FF2B5EF4-FFF2-40B4-BE49-F238E27FC236}">
                <a16:creationId xmlns:a16="http://schemas.microsoft.com/office/drawing/2014/main" id="{57A207C1-D418-352D-2981-820B3D5CEF67}"/>
              </a:ext>
            </a:extLst>
          </p:cNvPr>
          <p:cNvSpPr>
            <a:spLocks/>
          </p:cNvSpPr>
          <p:nvPr/>
        </p:nvSpPr>
        <p:spPr>
          <a:xfrm>
            <a:off x="3321684" y="5345078"/>
            <a:ext cx="8440778" cy="967067"/>
          </a:xfrm>
          <a:prstGeom prst="round2Diag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Ins="45720" rtlCol="0" anchor="ctr">
            <a:noAutofit/>
          </a:bodyPr>
          <a:lstStyle/>
          <a:p>
            <a:pPr marL="114300" marR="0" lvl="0" indent="0" algn="l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EA8B4E2-6971-4931-E98A-7A7596A8F412}"/>
              </a:ext>
            </a:extLst>
          </p:cNvPr>
          <p:cNvSpPr>
            <a:spLocks/>
          </p:cNvSpPr>
          <p:nvPr/>
        </p:nvSpPr>
        <p:spPr>
          <a:xfrm flipV="1">
            <a:off x="1908618" y="5345075"/>
            <a:ext cx="1413066" cy="517865"/>
          </a:xfrm>
          <a:custGeom>
            <a:avLst/>
            <a:gdLst>
              <a:gd name="connsiteX0" fmla="*/ 0 w 457200"/>
              <a:gd name="connsiteY0" fmla="*/ 285750 h 285750"/>
              <a:gd name="connsiteX1" fmla="*/ 123825 w 457200"/>
              <a:gd name="connsiteY1" fmla="*/ 0 h 285750"/>
              <a:gd name="connsiteX2" fmla="*/ 457200 w 457200"/>
              <a:gd name="connsiteY2" fmla="*/ 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7200" h="285750">
                <a:moveTo>
                  <a:pt x="0" y="285750"/>
                </a:moveTo>
                <a:lnTo>
                  <a:pt x="123825" y="0"/>
                </a:lnTo>
                <a:lnTo>
                  <a:pt x="457200" y="0"/>
                </a:lnTo>
              </a:path>
            </a:pathLst>
          </a:custGeom>
          <a:noFill/>
          <a:ln w="9525">
            <a:solidFill>
              <a:schemeClr val="accent1"/>
            </a:solidFill>
            <a:headEnd type="oval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DC5F72A-BB97-03B2-CD38-E24ED6DD27DF}"/>
              </a:ext>
            </a:extLst>
          </p:cNvPr>
          <p:cNvSpPr/>
          <p:nvPr/>
        </p:nvSpPr>
        <p:spPr>
          <a:xfrm>
            <a:off x="3138119" y="5642624"/>
            <a:ext cx="376863" cy="37197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45720" rtlCol="0" anchor="ctr">
            <a:noAutofit/>
          </a:bodyPr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4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DC36197-E1D0-5972-4AEB-244812A86461}"/>
              </a:ext>
            </a:extLst>
          </p:cNvPr>
          <p:cNvSpPr/>
          <p:nvPr/>
        </p:nvSpPr>
        <p:spPr>
          <a:xfrm>
            <a:off x="375920" y="3549074"/>
            <a:ext cx="1526134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9173330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7</TotalTime>
  <Words>19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11</cp:revision>
  <dcterms:created xsi:type="dcterms:W3CDTF">2021-03-31T02:49:57Z</dcterms:created>
  <dcterms:modified xsi:type="dcterms:W3CDTF">2025-10-16T11:12:23Z</dcterms:modified>
  <cp:category/>
</cp:coreProperties>
</file>